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14" r:id="rId5"/>
    <p:sldId id="4265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  <p:embeddedFont>
      <p:font typeface="PTCRaleway Black" panose="020B0604020202020204" charset="0"/>
      <p:bold r:id="rId17"/>
      <p:boldItalic r:id="rId18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8" autoAdjust="0"/>
    <p:restoredTop sz="68602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252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607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openxmlformats.org/officeDocument/2006/relationships/slide" Target="slide2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GD&amp;T ADVISOR EXTENSION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78060" y="1195273"/>
            <a:ext cx="10724356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Simplify GD&amp;T creation and improve MBD compliance with latest standards (ASME &amp; ISO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0EA79E4-901F-4976-8669-73D69234CDBD}"/>
              </a:ext>
            </a:extLst>
          </p:cNvPr>
          <p:cNvGrpSpPr/>
          <p:nvPr/>
        </p:nvGrpSpPr>
        <p:grpSpPr>
          <a:xfrm>
            <a:off x="5764446" y="1761205"/>
            <a:ext cx="6117599" cy="3706905"/>
            <a:chOff x="5572169" y="2454812"/>
            <a:chExt cx="6533953" cy="395919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92007" y="3880166"/>
              <a:ext cx="4714115" cy="2533837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3" name="Picture 2" descr="GD&amp;T Advisor Logo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542"/>
            <a:stretch/>
          </p:blipFill>
          <p:spPr bwMode="auto">
            <a:xfrm>
              <a:off x="10521442" y="3577208"/>
              <a:ext cx="1513853" cy="656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5572169" y="2454812"/>
              <a:ext cx="4949273" cy="3066754"/>
              <a:chOff x="7101481" y="960120"/>
              <a:chExt cx="4949273" cy="3066754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01481" y="1188076"/>
                <a:ext cx="4949273" cy="667206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558986" y="960120"/>
                <a:ext cx="1087869" cy="208172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545951" y="1508595"/>
                <a:ext cx="1243969" cy="2518279"/>
              </a:xfrm>
              <a:prstGeom prst="rect">
                <a:avLst/>
              </a:prstGeom>
              <a:ln>
                <a:solidFill>
                  <a:schemeClr val="bg2"/>
                </a:solidFill>
              </a:ln>
            </p:spPr>
          </p:pic>
        </p:grpSp>
        <p:sp>
          <p:nvSpPr>
            <p:cNvPr id="16" name="TextBox 15"/>
            <p:cNvSpPr txBox="1"/>
            <p:nvPr/>
          </p:nvSpPr>
          <p:spPr>
            <a:xfrm>
              <a:off x="5853794" y="3827551"/>
              <a:ext cx="1543663" cy="920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5"/>
                  </a:solidFill>
                </a:rPr>
                <a:t>Only relevant options are available for user selection</a:t>
              </a:r>
            </a:p>
          </p:txBody>
        </p:sp>
        <p:cxnSp>
          <p:nvCxnSpPr>
            <p:cNvPr id="17" name="Straight Connector 16"/>
            <p:cNvCxnSpPr>
              <a:cxnSpLocks/>
            </p:cNvCxnSpPr>
            <p:nvPr/>
          </p:nvCxnSpPr>
          <p:spPr>
            <a:xfrm flipV="1">
              <a:off x="7209168" y="4172227"/>
              <a:ext cx="851192" cy="161914"/>
            </a:xfrm>
            <a:prstGeom prst="line">
              <a:avLst/>
            </a:prstGeom>
            <a:ln>
              <a:solidFill>
                <a:schemeClr val="accent5"/>
              </a:solidFill>
              <a:headEnd w="lg" len="lg"/>
              <a:tailEnd type="triangle" w="lg" len="lg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cxnSpLocks/>
            </p:cNvCxnSpPr>
            <p:nvPr/>
          </p:nvCxnSpPr>
          <p:spPr>
            <a:xfrm flipV="1">
              <a:off x="7198317" y="4323290"/>
              <a:ext cx="887332" cy="22968"/>
            </a:xfrm>
            <a:prstGeom prst="line">
              <a:avLst/>
            </a:prstGeom>
            <a:ln>
              <a:solidFill>
                <a:schemeClr val="accent5"/>
              </a:solidFill>
              <a:headEnd w="lg" len="lg"/>
              <a:tailEnd type="triangle" w="lg" len="lg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9" name="Picture 2" descr="D:\000 - CAD Sales Enablement\000 - FY16 CAD Core Plays\SmartHomeSystemIcon.png">
            <a:hlinkClick r:id="rId8" action="ppaction://hlinksldjump"/>
            <a:extLst>
              <a:ext uri="{FF2B5EF4-FFF2-40B4-BE49-F238E27FC236}">
                <a16:creationId xmlns:a16="http://schemas.microsoft.com/office/drawing/2014/main" id="{13513338-1965-4291-BBCA-62FC22569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7E15322-B20E-4932-8CB3-8989F5ED28E8}"/>
              </a:ext>
            </a:extLst>
          </p:cNvPr>
          <p:cNvSpPr/>
          <p:nvPr/>
        </p:nvSpPr>
        <p:spPr>
          <a:xfrm>
            <a:off x="486618" y="1845853"/>
            <a:ext cx="1510147" cy="10372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8E7E82-32C5-496A-BEF3-A476496D5EF6}"/>
              </a:ext>
            </a:extLst>
          </p:cNvPr>
          <p:cNvSpPr/>
          <p:nvPr/>
        </p:nvSpPr>
        <p:spPr>
          <a:xfrm>
            <a:off x="2137473" y="1845853"/>
            <a:ext cx="3565941" cy="10372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Every customer that documents model and manufacturing requirements using Geometric Dimensioning and Tolerancing (GD&amp;T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686373-E2F4-4F6C-A310-F831088C2773}"/>
              </a:ext>
            </a:extLst>
          </p:cNvPr>
          <p:cNvSpPr/>
          <p:nvPr/>
        </p:nvSpPr>
        <p:spPr>
          <a:xfrm>
            <a:off x="486618" y="2945333"/>
            <a:ext cx="1510147" cy="13595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D72C4B-9D10-46D4-9E63-FB511F9C4B47}"/>
              </a:ext>
            </a:extLst>
          </p:cNvPr>
          <p:cNvSpPr/>
          <p:nvPr/>
        </p:nvSpPr>
        <p:spPr>
          <a:xfrm>
            <a:off x="2137475" y="2996133"/>
            <a:ext cx="3869747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and manufacturing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collaboration and communication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61D08A-7DDA-4B67-9A44-17539C1C206C}"/>
              </a:ext>
            </a:extLst>
          </p:cNvPr>
          <p:cNvSpPr/>
          <p:nvPr/>
        </p:nvSpPr>
        <p:spPr>
          <a:xfrm>
            <a:off x="486618" y="4373881"/>
            <a:ext cx="1510147" cy="6284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7082C-4F99-46ED-BBAF-F6D05CE9BDF5}"/>
              </a:ext>
            </a:extLst>
          </p:cNvPr>
          <p:cNvSpPr/>
          <p:nvPr/>
        </p:nvSpPr>
        <p:spPr>
          <a:xfrm>
            <a:off x="2137473" y="4353561"/>
            <a:ext cx="3306685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D&amp;T authoring (4 times faster than Creo Authoring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el-based Definition (MBD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82AF52-23B6-4A4F-AE0F-6251C7B035C9}"/>
              </a:ext>
            </a:extLst>
          </p:cNvPr>
          <p:cNvSpPr/>
          <p:nvPr/>
        </p:nvSpPr>
        <p:spPr>
          <a:xfrm>
            <a:off x="486618" y="5064541"/>
            <a:ext cx="1510147" cy="142854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C306D48-655E-48DE-B399-92BE05EAE76B}"/>
              </a:ext>
            </a:extLst>
          </p:cNvPr>
          <p:cNvSpPr/>
          <p:nvPr/>
        </p:nvSpPr>
        <p:spPr>
          <a:xfrm>
            <a:off x="2137474" y="5125501"/>
            <a:ext cx="5624766" cy="14285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Wizard-like dashboard to guide the user in the correct application of GD&amp;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eature-centric view of GD&amp;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dvisor Tree – displays messages to inform and guide the user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straint State Legend – provides surface highlighting to indicate tolerance status 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5FF51A6-8025-462C-A513-1FCC325534AC}"/>
              </a:ext>
            </a:extLst>
          </p:cNvPr>
          <p:cNvCxnSpPr>
            <a:cxnSpLocks/>
          </p:cNvCxnSpPr>
          <p:nvPr/>
        </p:nvCxnSpPr>
        <p:spPr>
          <a:xfrm>
            <a:off x="2093750" y="1845855"/>
            <a:ext cx="0" cy="103723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D8A8385-BB7E-4A79-960A-A5EAF11A096F}"/>
              </a:ext>
            </a:extLst>
          </p:cNvPr>
          <p:cNvCxnSpPr>
            <a:cxnSpLocks/>
          </p:cNvCxnSpPr>
          <p:nvPr/>
        </p:nvCxnSpPr>
        <p:spPr>
          <a:xfrm>
            <a:off x="2093750" y="2945332"/>
            <a:ext cx="0" cy="135951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0FEF7DC-A174-4AD9-9649-850D1C773A4D}"/>
              </a:ext>
            </a:extLst>
          </p:cNvPr>
          <p:cNvCxnSpPr>
            <a:cxnSpLocks/>
          </p:cNvCxnSpPr>
          <p:nvPr/>
        </p:nvCxnSpPr>
        <p:spPr>
          <a:xfrm>
            <a:off x="2093750" y="4373878"/>
            <a:ext cx="0" cy="62841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DF87B0D-675A-43F0-B585-F5599D2F4C9E}"/>
              </a:ext>
            </a:extLst>
          </p:cNvPr>
          <p:cNvCxnSpPr>
            <a:cxnSpLocks/>
          </p:cNvCxnSpPr>
          <p:nvPr/>
        </p:nvCxnSpPr>
        <p:spPr>
          <a:xfrm>
            <a:off x="2093750" y="5064539"/>
            <a:ext cx="0" cy="142854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519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5B4BC4B-4865-4A13-8856-7A1B583BB9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408" y="3698530"/>
            <a:ext cx="4413506" cy="2390649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26" name="Picture 2" descr="GD&amp;T Advisor Logo">
            <a:extLst>
              <a:ext uri="{FF2B5EF4-FFF2-40B4-BE49-F238E27FC236}">
                <a16:creationId xmlns:a16="http://schemas.microsoft.com/office/drawing/2014/main" id="{DE6E3659-0561-49CE-A23E-1F02176CCC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42"/>
          <a:stretch/>
        </p:blipFill>
        <p:spPr bwMode="auto">
          <a:xfrm>
            <a:off x="490760" y="5103759"/>
            <a:ext cx="1417388" cy="614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13C2BC8-E6C3-43B3-9946-27ECF952ABA9}"/>
              </a:ext>
            </a:extLst>
          </p:cNvPr>
          <p:cNvSpPr/>
          <p:nvPr/>
        </p:nvSpPr>
        <p:spPr>
          <a:xfrm>
            <a:off x="490760" y="4151919"/>
            <a:ext cx="5745448" cy="70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**Not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: </a:t>
            </a:r>
          </a:p>
          <a:p>
            <a:pPr marL="171450" marR="0" lvl="0" indent="-171450" algn="l" defTabSz="10867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5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SME and ISO GPS Tolerance standards are defined for part level GD&amp;T Only</a:t>
            </a:r>
          </a:p>
          <a:p>
            <a:pPr marL="171450" marR="0" lvl="0" indent="-171450" algn="l" defTabSz="10867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5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ssembly GD&amp;T is applied according to part level standards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76C91FAD-A65A-4B88-A45A-E8D1CF176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GD&amp;T Advisor Basic </a:t>
            </a:r>
            <a:r>
              <a:rPr lang="en-US"/>
              <a:t>and Advanced</a:t>
            </a:r>
            <a:endParaRPr lang="en-US" dirty="0"/>
          </a:p>
        </p:txBody>
      </p:sp>
      <p:graphicFrame>
        <p:nvGraphicFramePr>
          <p:cNvPr id="18" name="Content Placeholder 6">
            <a:extLst>
              <a:ext uri="{FF2B5EF4-FFF2-40B4-BE49-F238E27FC236}">
                <a16:creationId xmlns:a16="http://schemas.microsoft.com/office/drawing/2014/main" id="{B26D893D-B451-4FE3-A72C-C83032CAEA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5171382"/>
              </p:ext>
            </p:extLst>
          </p:nvPr>
        </p:nvGraphicFramePr>
        <p:xfrm>
          <a:off x="495300" y="1311435"/>
          <a:ext cx="11277600" cy="19812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6270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7240">
                  <a:extLst>
                    <a:ext uri="{9D8B030D-6E8A-4147-A177-3AD203B41FA5}">
                      <a16:colId xmlns:a16="http://schemas.microsoft.com/office/drawing/2014/main" val="4178355308"/>
                    </a:ext>
                  </a:extLst>
                </a:gridCol>
                <a:gridCol w="25600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65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GD&amp;T Advisor Basic</a:t>
                      </a:r>
                    </a:p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SPN-3391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GD&amp;T Advisor Advanced</a:t>
                      </a:r>
                    </a:p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SPN-3376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Guided creation of GD&amp;T in part model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Guided creation of GD&amp;T in assembly model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275033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Validation against ASME and ISO GPS tolerance standards **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Receive info, warnings and error messages in Advisor Tre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569">
                <a:tc>
                  <a:txBody>
                    <a:bodyPr/>
                    <a:lstStyle/>
                    <a:p>
                      <a:r>
                        <a:rPr lang="en-US" sz="1100" dirty="0"/>
                        <a:t>Reuse existing 3D annotation created in Creo using GD&amp;T Advisor to evaluate and provide guidance to fix non-compliant GD&amp;T (per standards)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945448"/>
                  </a:ext>
                </a:extLst>
              </a:tr>
            </a:tbl>
          </a:graphicData>
        </a:graphic>
      </p:graphicFrame>
      <p:pic>
        <p:nvPicPr>
          <p:cNvPr id="8" name="Picture 2" descr="D:\000 - CAD Sales Enablement\000 - FY16 CAD Core Plays\SmartHomeSystemIcon.png">
            <a:hlinkClick r:id="rId5" action="ppaction://hlinksldjump"/>
            <a:extLst>
              <a:ext uri="{FF2B5EF4-FFF2-40B4-BE49-F238E27FC236}">
                <a16:creationId xmlns:a16="http://schemas.microsoft.com/office/drawing/2014/main" id="{D066E544-BE1D-4B5C-84EC-71672262C3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80574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70738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259</Words>
  <Application>Microsoft Office PowerPoint</Application>
  <PresentationFormat>Widescreen</PresentationFormat>
  <Paragraphs>4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GD&amp;T ADVISOR EXTENSION </vt:lpstr>
      <vt:lpstr>GD&amp;T Advisor Basic and Advanc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7T13:3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